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311" r:id="rId5"/>
    <p:sldId id="310" r:id="rId6"/>
  </p:sldIdLst>
  <p:sldSz cx="12192000" cy="6858000"/>
  <p:notesSz cx="6797675" cy="9926638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xample Slides" id="{EBDBB532-6AD6-1847-B373-CF4900ADAB53}">
          <p14:sldIdLst>
            <p14:sldId id="311"/>
            <p14:sldId id="31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FFFF"/>
    <a:srgbClr val="009FE3"/>
    <a:srgbClr val="000000"/>
    <a:srgbClr val="F2DAB2"/>
    <a:srgbClr val="007298"/>
    <a:srgbClr val="EDED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54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5" d="100"/>
          <a:sy n="65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A60F661-C288-0F46-AD69-FEF62873B3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31447B-D362-7243-AD76-BE69AB7C8FD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F7CFB9-6E49-0B45-ABEF-CB87322BA016}" type="datetimeFigureOut">
              <a:rPr lang="en-US" smtClean="0"/>
              <a:t>1/1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475F5C-6959-AA4F-AEC2-912AA1B733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297E60-3AF8-DF4D-8795-39CDCD98788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A18A28-4AC3-C440-AA34-2DCC8989FC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6464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AA45E5-8C8F-6542-94D7-A4C793495209}" type="datetimeFigureOut">
              <a:rPr lang="en-US" smtClean="0"/>
              <a:t>1/1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C03DE5-54F0-E649-985D-ABCA7B63E5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9316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31532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4.jpeg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15.jpeg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16.jpe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17.jpeg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microsoft.com/office/2007/relationships/hdphoto" Target="../media/hdphoto2.wdp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7" Type="http://schemas.openxmlformats.org/officeDocument/2006/relationships/image" Target="../media/image12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C86E7B-1A07-B14B-9C0E-3E9ED794CB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722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hoto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E28BD34-3CA8-BF4F-8713-19D7970C39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8869" y="5179073"/>
            <a:ext cx="2387108" cy="530122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DEC22F9-ECF2-9446-8140-EC1FDDE98F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366" y="2393373"/>
            <a:ext cx="4919179" cy="808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</a:defRPr>
            </a:lvl1pPr>
            <a:lvl2pPr marL="457200" indent="0">
              <a:buNone/>
              <a:defRPr sz="10000" b="1">
                <a:solidFill>
                  <a:schemeClr val="bg1"/>
                </a:solidFill>
              </a:defRPr>
            </a:lvl2pPr>
            <a:lvl3pPr marL="914400" indent="0">
              <a:buNone/>
              <a:defRPr sz="10000" b="1">
                <a:solidFill>
                  <a:schemeClr val="bg1"/>
                </a:solidFill>
              </a:defRPr>
            </a:lvl3pPr>
            <a:lvl4pPr marL="1371600" indent="0">
              <a:buNone/>
              <a:defRPr sz="10000" b="1">
                <a:solidFill>
                  <a:schemeClr val="bg1"/>
                </a:solidFill>
              </a:defRPr>
            </a:lvl4pPr>
            <a:lvl5pPr marL="1828800" indent="0">
              <a:buNone/>
              <a:defRPr sz="10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ver slid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4540450-99B3-FF4F-BD91-EBFC2EDB1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8869" y="3220813"/>
            <a:ext cx="4892676" cy="396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61E863-BDD9-AB40-88CD-58B837EE5E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2BB82739-5536-41C2-A669-2E1C549DE8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1FA735-6016-475C-BE18-D088C6B425EB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03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fo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BE799D-EEA0-A24A-B8C6-38313811ED09}"/>
              </a:ext>
            </a:extLst>
          </p:cNvPr>
          <p:cNvSpPr/>
          <p:nvPr userDrawn="1"/>
        </p:nvSpPr>
        <p:spPr>
          <a:xfrm>
            <a:off x="8129016" y="-2"/>
            <a:ext cx="4062985" cy="68580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074ACA-B956-374D-A881-3B5AF00AB7F3}"/>
              </a:ext>
            </a:extLst>
          </p:cNvPr>
          <p:cNvSpPr/>
          <p:nvPr userDrawn="1"/>
        </p:nvSpPr>
        <p:spPr>
          <a:xfrm>
            <a:off x="1" y="3429003"/>
            <a:ext cx="4050793" cy="3428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40720B-D21E-C749-A6AA-0EE74EE02BCC}"/>
              </a:ext>
            </a:extLst>
          </p:cNvPr>
          <p:cNvSpPr/>
          <p:nvPr userDrawn="1"/>
        </p:nvSpPr>
        <p:spPr>
          <a:xfrm>
            <a:off x="1" y="2"/>
            <a:ext cx="4050793" cy="3428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769679-35B5-CA4F-A680-B51E6CF894C6}"/>
              </a:ext>
            </a:extLst>
          </p:cNvPr>
          <p:cNvSpPr/>
          <p:nvPr userDrawn="1"/>
        </p:nvSpPr>
        <p:spPr>
          <a:xfrm>
            <a:off x="4050793" y="-2"/>
            <a:ext cx="4090418" cy="3437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D5DAFD86-68A4-B54C-92BA-66D0210CB51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99041" y="2286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0" name="Content Placeholder 26">
            <a:extLst>
              <a:ext uri="{FF2B5EF4-FFF2-40B4-BE49-F238E27FC236}">
                <a16:creationId xmlns:a16="http://schemas.microsoft.com/office/drawing/2014/main" id="{C230251B-467D-8740-8666-6C3C194809E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9041" y="2791086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3" name="Content Placeholder 26">
            <a:extLst>
              <a:ext uri="{FF2B5EF4-FFF2-40B4-BE49-F238E27FC236}">
                <a16:creationId xmlns:a16="http://schemas.microsoft.com/office/drawing/2014/main" id="{0E1C8EA1-B159-2145-A6A9-B003F82E388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72973" y="553723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4" name="Content Placeholder 26">
            <a:extLst>
              <a:ext uri="{FF2B5EF4-FFF2-40B4-BE49-F238E27FC236}">
                <a16:creationId xmlns:a16="http://schemas.microsoft.com/office/drawing/2014/main" id="{2A67E8B3-524E-FB4B-A422-4E20C74A9F9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72973" y="604187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5" name="Content Placeholder 26">
            <a:extLst>
              <a:ext uri="{FF2B5EF4-FFF2-40B4-BE49-F238E27FC236}">
                <a16:creationId xmlns:a16="http://schemas.microsoft.com/office/drawing/2014/main" id="{09B5E6C2-428E-6746-9353-768CDF215F1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71578" y="228917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6" name="Content Placeholder 26">
            <a:extLst>
              <a:ext uri="{FF2B5EF4-FFF2-40B4-BE49-F238E27FC236}">
                <a16:creationId xmlns:a16="http://schemas.microsoft.com/office/drawing/2014/main" id="{BEA1AA5D-EB62-C943-9A5E-6D55F7AC4DF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71578" y="2793816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7" name="Content Placeholder 26">
            <a:extLst>
              <a:ext uri="{FF2B5EF4-FFF2-40B4-BE49-F238E27FC236}">
                <a16:creationId xmlns:a16="http://schemas.microsoft.com/office/drawing/2014/main" id="{D2E47119-DF43-B44D-864B-924610A0963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71578" y="557780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rgbClr val="009FE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8" name="Content Placeholder 26">
            <a:extLst>
              <a:ext uri="{FF2B5EF4-FFF2-40B4-BE49-F238E27FC236}">
                <a16:creationId xmlns:a16="http://schemas.microsoft.com/office/drawing/2014/main" id="{30C55AAD-8DA1-6041-A511-8D881A2B458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71578" y="6082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rgbClr val="009FE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9" name="Content Placeholder 26">
            <a:extLst>
              <a:ext uri="{FF2B5EF4-FFF2-40B4-BE49-F238E27FC236}">
                <a16:creationId xmlns:a16="http://schemas.microsoft.com/office/drawing/2014/main" id="{350C102B-D22D-D646-B0D5-2871CA89AD7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846273" y="557780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0" name="Content Placeholder 26">
            <a:extLst>
              <a:ext uri="{FF2B5EF4-FFF2-40B4-BE49-F238E27FC236}">
                <a16:creationId xmlns:a16="http://schemas.microsoft.com/office/drawing/2014/main" id="{EC4BC926-CBAB-CC42-8A56-6AB2CC27705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846273" y="6082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A9849B4E-3E32-CF49-81B1-BF7F75DB7C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055" y="-1"/>
            <a:ext cx="2293269" cy="228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D48F6C-4024-1745-8F79-5E57E96CEAA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7176" y="1738593"/>
            <a:ext cx="3635959" cy="524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C28FBD2F-FD7D-0D41-97CD-A1AE285BC47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7176" y="2263052"/>
            <a:ext cx="3635959" cy="4002651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18EF6BD-5AD7-F149-918F-8128C88F745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78022" y="1738594"/>
            <a:ext cx="3635959" cy="52445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738767B-C4A7-9247-A040-1160BB94B90F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278022" y="2263051"/>
            <a:ext cx="3635959" cy="4002651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B6B5A2E-166A-0349-BFFD-58D9C22DC1CB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198867" y="1738591"/>
            <a:ext cx="3635959" cy="5244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C3CF8C9-EB98-BA43-A329-0720349D1F2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98867" y="2263050"/>
            <a:ext cx="3635959" cy="4002651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E615C8C-5DB5-A447-A29B-5B5FFB8F42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175" y="437351"/>
            <a:ext cx="11477650" cy="5244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slide tit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F45A9C2-35AB-1043-B586-6768C3D0CA37}"/>
              </a:ext>
            </a:extLst>
          </p:cNvPr>
          <p:cNvCxnSpPr/>
          <p:nvPr userDrawn="1"/>
        </p:nvCxnSpPr>
        <p:spPr>
          <a:xfrm>
            <a:off x="4138862" y="1584909"/>
            <a:ext cx="0" cy="4826562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43AF5C-1939-3542-8C51-10ADD2A6047C}"/>
              </a:ext>
            </a:extLst>
          </p:cNvPr>
          <p:cNvCxnSpPr/>
          <p:nvPr userDrawn="1"/>
        </p:nvCxnSpPr>
        <p:spPr>
          <a:xfrm>
            <a:off x="8069179" y="1584909"/>
            <a:ext cx="0" cy="4826562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E2031CE1-B50C-D348-82C0-2F4FF5B9EC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0" y="-2"/>
            <a:ext cx="2408819" cy="24088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549E93-DBCE-344E-B0F1-56F7CDD0CA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BF7F77-2F4A-BA45-8D70-3A6B70F3CB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1043156"/>
            <a:ext cx="1147764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20" name="Date Placeholder 1">
            <a:extLst>
              <a:ext uri="{FF2B5EF4-FFF2-40B4-BE49-F238E27FC236}">
                <a16:creationId xmlns:a16="http://schemas.microsoft.com/office/drawing/2014/main" id="{C5C424F3-54FC-4459-96C2-AFD16F6FDFE3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22F719-1918-4AE5-AB18-3775319800E4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44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B689F2-D4FB-DE4D-B304-324A225BC89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7178" y="1681163"/>
            <a:ext cx="5544148" cy="8239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1301A0-0D7D-634B-9440-6FB29DFE97C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7169" y="2505075"/>
            <a:ext cx="5544155" cy="368458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A2F2C-4817-2146-AEA7-09019B63598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0326" y="1681163"/>
            <a:ext cx="5614487" cy="8239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0E802A-A660-3942-9ACC-147715F4E2E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20325" y="2505075"/>
            <a:ext cx="5614478" cy="368458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F3E4DC7-F44B-9E4D-A730-BFCFA4899F5B}"/>
              </a:ext>
            </a:extLst>
          </p:cNvPr>
          <p:cNvCxnSpPr>
            <a:cxnSpLocks/>
          </p:cNvCxnSpPr>
          <p:nvPr userDrawn="1"/>
        </p:nvCxnSpPr>
        <p:spPr>
          <a:xfrm>
            <a:off x="6045701" y="1681163"/>
            <a:ext cx="0" cy="450850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67F9F59-1B7C-CC48-99DB-261D9A6B5E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" y="4668255"/>
            <a:ext cx="4058652" cy="218974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1B9862-B7BC-154C-AD39-49807D5B2B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F91CD170-D4D5-FF4A-8F50-2536131E84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175" y="437351"/>
            <a:ext cx="11477650" cy="5244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89F11C1-840A-1B42-A081-88C1553256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1043156"/>
            <a:ext cx="1147764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6" name="Date Placeholder 1">
            <a:extLst>
              <a:ext uri="{FF2B5EF4-FFF2-40B4-BE49-F238E27FC236}">
                <a16:creationId xmlns:a16="http://schemas.microsoft.com/office/drawing/2014/main" id="{85DCB168-E113-42B9-AAC6-47EBDEBE334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E016D3-C8C9-4C0E-AAED-64E43E6913C6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47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B689F2-D4FB-DE4D-B304-324A225BC89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7178" y="1681163"/>
            <a:ext cx="5544148" cy="8239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1301A0-0D7D-634B-9440-6FB29DFE97C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7169" y="2505075"/>
            <a:ext cx="5544155" cy="368458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  <a:p>
            <a:pPr lvl="3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A2F2C-4817-2146-AEA7-09019B63598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0326" y="1681163"/>
            <a:ext cx="5614487" cy="8239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0E802A-A660-3942-9ACC-147715F4E2E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20325" y="2505075"/>
            <a:ext cx="5614478" cy="368458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800"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800"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/>
              <a:t>Bulleted text or graph or picture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ed text, etc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 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Bulleted text, etc.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lvl="3"/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F3E4DC7-F44B-9E4D-A730-BFCFA4899F5B}"/>
              </a:ext>
            </a:extLst>
          </p:cNvPr>
          <p:cNvCxnSpPr>
            <a:cxnSpLocks/>
          </p:cNvCxnSpPr>
          <p:nvPr userDrawn="1"/>
        </p:nvCxnSpPr>
        <p:spPr>
          <a:xfrm>
            <a:off x="6045701" y="1681163"/>
            <a:ext cx="0" cy="450850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1B9862-B7BC-154C-AD39-49807D5B2B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F91CD170-D4D5-FF4A-8F50-2536131E84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175" y="437351"/>
            <a:ext cx="11477650" cy="5244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89F11C1-840A-1B42-A081-88C1553256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1043156"/>
            <a:ext cx="1147764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555A3B1-C22E-4AD6-9507-E2769205E0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" y="4668255"/>
            <a:ext cx="4058652" cy="2189747"/>
          </a:xfrm>
          <a:prstGeom prst="rect">
            <a:avLst/>
          </a:prstGeom>
        </p:spPr>
      </p:pic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E73EF415-8E90-4201-9C38-0D8D1D6C616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50E4DF-4E7F-495F-B019-FA021ED320A1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54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248406-88EE-DE47-89F5-F3ED991EAE1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70438" y="720857"/>
            <a:ext cx="7421563" cy="541641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922" y="911973"/>
            <a:ext cx="3345332" cy="6252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189" y="2294958"/>
            <a:ext cx="6539516" cy="3499806"/>
          </a:xfrm>
          <a:prstGeom prst="rect">
            <a:avLst/>
          </a:prstGeom>
          <a:solidFill>
            <a:schemeClr val="bg1"/>
          </a:solidFill>
        </p:spPr>
        <p:txBody>
          <a:bodyPr lIns="365760" tIns="365760" rIns="365760" bIns="365760">
            <a:normAutofit/>
          </a:bodyPr>
          <a:lstStyle>
            <a:lvl1pPr>
              <a:defRPr lang="en-US" sz="2000" dirty="0"/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709677-4286-E141-AD0E-2C76CA63231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FA352C2-B7C3-CB47-B172-587FD10D85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39922" y="1649042"/>
            <a:ext cx="3345332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3916F0-0293-47EC-A278-980875AAC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9756" y="720856"/>
            <a:ext cx="2408819" cy="2408821"/>
          </a:xfrm>
          <a:prstGeom prst="rect">
            <a:avLst/>
          </a:prstGeom>
        </p:spPr>
      </p:pic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32A23FAF-1F88-40B3-B073-0FAF9ECDEC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ECB91B-8DF0-41A5-BD23-99E3AC309C3E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99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227D51-AA4F-4434-9106-8ACA1661EC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792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227D51-AA4F-4434-9106-8ACA1661E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Placeholder 6">
            <a:extLst>
              <a:ext uri="{FF2B5EF4-FFF2-40B4-BE49-F238E27FC236}">
                <a16:creationId xmlns:a16="http://schemas.microsoft.com/office/drawing/2014/main" id="{48CFB83A-B94E-45B5-8282-5B58332EAF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0438" y="720725"/>
            <a:ext cx="7421563" cy="5416550"/>
          </a:xfrm>
          <a:prstGeom prst="rect">
            <a:avLst/>
          </a:prstGeom>
        </p:spPr>
      </p:pic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922" y="911973"/>
            <a:ext cx="3345332" cy="6252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189" y="2294958"/>
            <a:ext cx="6539516" cy="3499806"/>
          </a:xfrm>
          <a:prstGeom prst="rect">
            <a:avLst/>
          </a:prstGeom>
          <a:solidFill>
            <a:schemeClr val="bg1"/>
          </a:solidFill>
        </p:spPr>
        <p:txBody>
          <a:bodyPr lIns="365760" tIns="365760" rIns="365760" bIns="365760">
            <a:normAutofit/>
          </a:bodyPr>
          <a:lstStyle>
            <a:lvl1pPr>
              <a:defRPr lang="en-US" sz="2000" dirty="0"/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709677-4286-E141-AD0E-2C76CA63231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FA352C2-B7C3-CB47-B172-587FD10D85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39922" y="1649042"/>
            <a:ext cx="3345332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3916F0-0293-47EC-A278-980875AAC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9756" y="720856"/>
            <a:ext cx="2408819" cy="2408821"/>
          </a:xfrm>
          <a:prstGeom prst="rect">
            <a:avLst/>
          </a:prstGeom>
        </p:spPr>
      </p:pic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62D68F2B-0CFB-4458-A501-869C74C8AE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FF3A02-DA8A-4CBA-9769-60EA19C0C191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2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D3DC7A-750A-9841-B31A-36E1A193963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952270"/>
            <a:ext cx="7416764" cy="495323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icon to add photo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2C6FB52E-EFF0-AF4B-AC9E-CF08AE16C1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71425" y="927268"/>
            <a:ext cx="4393406" cy="6719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716A7C-FB2B-734C-B1A7-B506FFFE12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34ECC47-FF0C-A248-BC41-CF09D98E66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25312" y="2056422"/>
            <a:ext cx="6539516" cy="3499806"/>
          </a:xfrm>
          <a:prstGeom prst="rect">
            <a:avLst/>
          </a:prstGeom>
          <a:solidFill>
            <a:schemeClr val="bg1"/>
          </a:solidFill>
        </p:spPr>
        <p:txBody>
          <a:bodyPr lIns="365760" tIns="365760" rIns="365760" bIns="36576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20B58F8-268B-224D-A3EE-D7356DFA4F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71423" y="1630858"/>
            <a:ext cx="4393406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6D52975-63DA-4696-B0D9-B8CE189700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952272"/>
            <a:ext cx="2408820" cy="2408821"/>
          </a:xfrm>
          <a:prstGeom prst="rect">
            <a:avLst/>
          </a:prstGeom>
        </p:spPr>
      </p:pic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AE5F3105-88E6-4FE1-853D-AF0BE6B7C2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84530B-75E1-47D6-A72F-3431A74C1223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58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82D706E-5688-4638-9B84-928FC9936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583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82D706E-5688-4638-9B84-928FC9936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06AE5A46-9366-4829-A6BA-26DE67AB5C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903378"/>
            <a:ext cx="7416764" cy="4953230"/>
          </a:xfrm>
          <a:prstGeom prst="rect">
            <a:avLst/>
          </a:prstGeom>
        </p:spPr>
      </p:pic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2C6FB52E-EFF0-AF4B-AC9E-CF08AE16C1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71425" y="927268"/>
            <a:ext cx="4393406" cy="6719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716A7C-FB2B-734C-B1A7-B506FFFE12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34ECC47-FF0C-A248-BC41-CF09D98E66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25312" y="2056422"/>
            <a:ext cx="6539516" cy="3499806"/>
          </a:xfrm>
          <a:prstGeom prst="rect">
            <a:avLst/>
          </a:prstGeom>
          <a:solidFill>
            <a:schemeClr val="bg1"/>
          </a:solidFill>
        </p:spPr>
        <p:txBody>
          <a:bodyPr lIns="365760" tIns="365760" rIns="365760" bIns="365760">
            <a:norm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20B58F8-268B-224D-A3EE-D7356DFA4F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71423" y="1630858"/>
            <a:ext cx="4393406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6D52975-63DA-4696-B0D9-B8CE189700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952272"/>
            <a:ext cx="2408820" cy="2408821"/>
          </a:xfrm>
          <a:prstGeom prst="rect">
            <a:avLst/>
          </a:prstGeom>
        </p:spPr>
      </p:pic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AC4B492E-489D-4DF5-94BD-F0C0754CE3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015FB6-EC5E-463C-AFE6-E07E9BA9D9B8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73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4BA5472-2B69-9C43-AB19-05031C43548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488238" y="0"/>
            <a:ext cx="4703762" cy="61722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replace photo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922" y="985745"/>
            <a:ext cx="5528628" cy="5700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39922" y="2260692"/>
            <a:ext cx="5528628" cy="322537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36576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4C7AD61E-04C2-F041-AED2-97806CAF40D6}"/>
              </a:ext>
            </a:extLst>
          </p:cNvPr>
          <p:cNvSpPr txBox="1">
            <a:spLocks/>
          </p:cNvSpPr>
          <p:nvPr userDrawn="1"/>
        </p:nvSpPr>
        <p:spPr>
          <a:xfrm>
            <a:off x="8077201" y="65007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BCEBDE-760A-B84E-8DFF-C82E8660821A}" type="slidenum">
              <a:rPr lang="en-US" sz="1200" smtClean="0">
                <a:solidFill>
                  <a:schemeClr val="bg1"/>
                </a:solidFill>
              </a:rPr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A7CC6B-7434-3A40-9460-26CD7C2DC8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8F363A6-9BAD-C249-9099-93B493DCD0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39922" y="1701802"/>
            <a:ext cx="552862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2DF2A6-EB2D-4867-B3E0-9D7657D2E5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9783181" y="3763381"/>
            <a:ext cx="2408820" cy="2408821"/>
          </a:xfrm>
          <a:prstGeom prst="rect">
            <a:avLst/>
          </a:prstGeom>
        </p:spPr>
      </p:pic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82A6BB5A-C20B-46C0-A431-50EF27F95F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EBAD38-B7C7-4985-BBB2-FBB5A1CBC5DB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9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B3A5FD-F9C0-4277-A956-7DC2ECA04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675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B3A5FD-F9C0-4277-A956-7DC2ECA04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06EA171C-7809-45EB-B19A-F110D76CC4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8238" y="0"/>
            <a:ext cx="4703762" cy="6172200"/>
          </a:xfrm>
          <a:prstGeom prst="rect">
            <a:avLst/>
          </a:prstGeom>
        </p:spPr>
      </p:pic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922" y="985745"/>
            <a:ext cx="5528628" cy="5700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39922" y="2260692"/>
            <a:ext cx="5528628" cy="322537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365760">
            <a:norm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doluptatiis</a:t>
            </a:r>
            <a:r>
              <a:rPr lang="en-US" dirty="0"/>
              <a:t> </a:t>
            </a:r>
            <a:r>
              <a:rPr lang="en-US" dirty="0" err="1"/>
              <a:t>vere</a:t>
            </a:r>
            <a:r>
              <a:rPr lang="en-US" dirty="0"/>
              <a:t> </a:t>
            </a:r>
            <a:r>
              <a:rPr lang="en-US" dirty="0" err="1"/>
              <a:t>endit</a:t>
            </a:r>
            <a:r>
              <a:rPr lang="en-US" dirty="0"/>
              <a:t> </a:t>
            </a:r>
            <a:r>
              <a:rPr lang="en-US" dirty="0" err="1"/>
              <a:t>dolorer</a:t>
            </a:r>
            <a:r>
              <a:rPr lang="en-US" dirty="0"/>
              <a:t> </a:t>
            </a:r>
            <a:r>
              <a:rPr lang="en-US" dirty="0" err="1"/>
              <a:t>ibusaeptibus</a:t>
            </a:r>
            <a:r>
              <a:rPr lang="en-US" dirty="0"/>
              <a:t>. 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4C7AD61E-04C2-F041-AED2-97806CAF40D6}"/>
              </a:ext>
            </a:extLst>
          </p:cNvPr>
          <p:cNvSpPr txBox="1">
            <a:spLocks/>
          </p:cNvSpPr>
          <p:nvPr userDrawn="1"/>
        </p:nvSpPr>
        <p:spPr>
          <a:xfrm>
            <a:off x="8077201" y="65007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BCEBDE-760A-B84E-8DFF-C82E8660821A}" type="slidenum">
              <a:rPr lang="en-US" sz="1200" smtClean="0">
                <a:solidFill>
                  <a:schemeClr val="bg1"/>
                </a:solidFill>
              </a:rPr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A7CC6B-7434-3A40-9460-26CD7C2DC8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8F363A6-9BAD-C249-9099-93B493DCD0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39922" y="1701802"/>
            <a:ext cx="552862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2DF2A6-EB2D-4867-B3E0-9D7657D2E5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9783181" y="3763381"/>
            <a:ext cx="2408820" cy="2408821"/>
          </a:xfrm>
          <a:prstGeom prst="rect">
            <a:avLst/>
          </a:prstGeom>
        </p:spPr>
      </p:pic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C02E1A3B-311C-4A6F-A67F-ABDB638C27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CB0428-EA45-418B-AA0A-852626CA70C9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881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71DE0F-B3A3-4B0E-A25A-7AB977A64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822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71DE0F-B3A3-4B0E-A25A-7AB977A64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ABE5D8E-03FB-4C1F-AA5E-D128BF735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6AB2CD-C9FE-471D-86FA-3AFDDE5BC4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2" y="-1"/>
            <a:ext cx="2408819" cy="24088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728ABD3-37C1-481D-9030-8B42405987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" y="4285829"/>
            <a:ext cx="2579428" cy="2579429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05186023-A5B7-44E1-8289-F9202752D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66278612-2BD5-43C7-B7FD-FAFC7513F21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Date Placeholder 1">
            <a:extLst>
              <a:ext uri="{FF2B5EF4-FFF2-40B4-BE49-F238E27FC236}">
                <a16:creationId xmlns:a16="http://schemas.microsoft.com/office/drawing/2014/main" id="{B0C1146E-68A6-4A94-BC49-31AF9AA9C7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C6A55A-DA91-4452-A0AE-D9286CA26766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9377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5CA0E34C-08F5-7541-9786-D84A318A314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6142" y="0"/>
            <a:ext cx="7655858" cy="61722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replace photo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190" y="569594"/>
            <a:ext cx="2985726" cy="56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7190" y="2141422"/>
            <a:ext cx="2985726" cy="358160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36576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E7FD2A90-733E-5B4D-9BA9-5BE858F8C371}"/>
              </a:ext>
            </a:extLst>
          </p:cNvPr>
          <p:cNvSpPr txBox="1">
            <a:spLocks/>
          </p:cNvSpPr>
          <p:nvPr userDrawn="1"/>
        </p:nvSpPr>
        <p:spPr>
          <a:xfrm>
            <a:off x="8077201" y="65007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BCEBDE-760A-B84E-8DFF-C82E8660821A}" type="slidenum">
              <a:rPr lang="en-US" sz="1200" smtClean="0">
                <a:solidFill>
                  <a:schemeClr val="bg1"/>
                </a:solidFill>
              </a:rPr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E43957-E5D5-4A4B-9DB2-8EB897A31F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F3CED02-4FF4-0141-B92C-74AB3FE6C2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7190" y="1266220"/>
            <a:ext cx="2985726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438D27-D201-4FC8-BC23-EA833DD3E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2" y="-1"/>
            <a:ext cx="2408819" cy="2408821"/>
          </a:xfrm>
          <a:prstGeom prst="rect">
            <a:avLst/>
          </a:prstGeom>
        </p:spPr>
      </p:pic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8256D869-9876-405B-9487-7C681573CA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9C2C3C-D549-4936-BED5-FEE17BF12723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238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FC7C-754F-4EC1-8441-1B65249D38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8561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FC7C-754F-4EC1-8441-1B65249D38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DA1BFFD4-248B-4DFF-9C35-04AE53FACF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47" b="5047"/>
          <a:stretch/>
        </p:blipFill>
        <p:spPr>
          <a:xfrm>
            <a:off x="4535488" y="0"/>
            <a:ext cx="7656512" cy="6172200"/>
          </a:xfrm>
          <a:prstGeom prst="rect">
            <a:avLst/>
          </a:prstGeom>
        </p:spPr>
      </p:pic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6FE3FFE-96F3-1349-84A2-2A05CE24A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190" y="569594"/>
            <a:ext cx="2985726" cy="56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2F7CF46D-983A-1D44-B0BA-82353C7409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7190" y="2141422"/>
            <a:ext cx="2985726" cy="358160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365760">
            <a:norm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 dirty="0" err="1"/>
              <a:t>Ollautae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Luptibustius</a:t>
            </a:r>
            <a:r>
              <a:rPr lang="en-US" dirty="0"/>
              <a:t> se </a:t>
            </a:r>
            <a:r>
              <a:rPr lang="en-US" dirty="0" err="1"/>
              <a:t>nia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 </a:t>
            </a:r>
            <a:r>
              <a:rPr lang="en-US" dirty="0" err="1"/>
              <a:t>alicae</a:t>
            </a:r>
            <a:r>
              <a:rPr lang="en-US" dirty="0"/>
              <a:t> </a:t>
            </a:r>
            <a:r>
              <a:rPr lang="en-US" dirty="0" err="1"/>
              <a:t>plignim</a:t>
            </a:r>
            <a:r>
              <a:rPr lang="en-US" dirty="0"/>
              <a:t> </a:t>
            </a:r>
            <a:r>
              <a:rPr lang="en-US" dirty="0" err="1"/>
              <a:t>experumqui</a:t>
            </a:r>
            <a:r>
              <a:rPr lang="en-US" dirty="0"/>
              <a:t> </a:t>
            </a:r>
            <a:r>
              <a:rPr lang="en-US" dirty="0" err="1"/>
              <a:t>remque</a:t>
            </a:r>
            <a:r>
              <a:rPr lang="en-US" dirty="0"/>
              <a:t> </a:t>
            </a:r>
            <a:r>
              <a:rPr lang="en-US" dirty="0" err="1"/>
              <a:t>nimusdae</a:t>
            </a:r>
            <a:r>
              <a:rPr lang="en-US" dirty="0"/>
              <a:t> </a:t>
            </a:r>
            <a:r>
              <a:rPr lang="en-US" dirty="0" err="1"/>
              <a:t>veri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oluptis</a:t>
            </a:r>
            <a:r>
              <a:rPr lang="en-US" dirty="0"/>
              <a:t>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repedi</a:t>
            </a:r>
            <a:r>
              <a:rPr lang="en-US" dirty="0"/>
              <a:t> </a:t>
            </a:r>
            <a:r>
              <a:rPr lang="en-US" dirty="0" err="1"/>
              <a:t>debitibus</a:t>
            </a:r>
            <a:r>
              <a:rPr lang="en-US" dirty="0"/>
              <a:t> </a:t>
            </a:r>
            <a:r>
              <a:rPr lang="en-US" dirty="0" err="1"/>
              <a:t>inciduc</a:t>
            </a:r>
            <a:r>
              <a:rPr lang="en-US" dirty="0"/>
              <a:t> </a:t>
            </a:r>
            <a:r>
              <a:rPr lang="en-US" dirty="0" err="1"/>
              <a:t>itatur</a:t>
            </a:r>
            <a:r>
              <a:rPr lang="en-US" dirty="0"/>
              <a:t> </a:t>
            </a:r>
            <a:r>
              <a:rPr lang="en-US" dirty="0" err="1"/>
              <a:t>acea</a:t>
            </a:r>
            <a:r>
              <a:rPr lang="en-US" dirty="0"/>
              <a:t> </a:t>
            </a:r>
            <a:r>
              <a:rPr lang="en-US" dirty="0" err="1"/>
              <a:t>scienit</a:t>
            </a:r>
            <a:r>
              <a:rPr lang="en-US" dirty="0"/>
              <a:t> </a:t>
            </a:r>
            <a:r>
              <a:rPr lang="en-US" dirty="0" err="1"/>
              <a:t>occus</a:t>
            </a:r>
            <a:r>
              <a:rPr lang="en-US" dirty="0"/>
              <a:t>. 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E7FD2A90-733E-5B4D-9BA9-5BE858F8C371}"/>
              </a:ext>
            </a:extLst>
          </p:cNvPr>
          <p:cNvSpPr txBox="1">
            <a:spLocks/>
          </p:cNvSpPr>
          <p:nvPr userDrawn="1"/>
        </p:nvSpPr>
        <p:spPr>
          <a:xfrm>
            <a:off x="8077201" y="65007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BCEBDE-760A-B84E-8DFF-C82E8660821A}" type="slidenum">
              <a:rPr lang="en-US" sz="1200" smtClean="0">
                <a:solidFill>
                  <a:schemeClr val="bg1"/>
                </a:solidFill>
              </a:rPr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E43957-E5D5-4A4B-9DB2-8EB897A31F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F3CED02-4FF4-0141-B92C-74AB3FE6C2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7190" y="1266220"/>
            <a:ext cx="2985726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/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438D27-D201-4FC8-BC23-EA833DD3E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2" y="-1"/>
            <a:ext cx="2408819" cy="2408821"/>
          </a:xfrm>
          <a:prstGeom prst="rect">
            <a:avLst/>
          </a:prstGeom>
        </p:spPr>
      </p:pic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F3D37BBA-68DF-40F5-879C-5A0E2E0AED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7356A7-D3F6-4579-B1D5-69F9F6C2DA01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13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mp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A87FCC-A38B-4EBE-9899-EB55D640D3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858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A87FCC-A38B-4EBE-9899-EB55D640D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C3D5C462-40F7-4D34-A89E-184E6C55A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contrast="1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80" y="2"/>
            <a:ext cx="12196763" cy="6172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60E84A-AB49-4E47-8682-182B7E290848}"/>
              </a:ext>
            </a:extLst>
          </p:cNvPr>
          <p:cNvSpPr/>
          <p:nvPr userDrawn="1"/>
        </p:nvSpPr>
        <p:spPr>
          <a:xfrm>
            <a:off x="-4112" y="0"/>
            <a:ext cx="12192000" cy="6172200"/>
          </a:xfrm>
          <a:prstGeom prst="rect">
            <a:avLst/>
          </a:prstGeom>
          <a:solidFill>
            <a:schemeClr val="accent1">
              <a:alpha val="8588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ECBE5E-B22E-43AA-9F03-AC2BC5A8E0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8098" y="184148"/>
            <a:ext cx="6119790" cy="61722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8DA0410-C3B4-6D4E-A6E2-29FA2C1F3700}"/>
              </a:ext>
            </a:extLst>
          </p:cNvPr>
          <p:cNvSpPr txBox="1"/>
          <p:nvPr userDrawn="1"/>
        </p:nvSpPr>
        <p:spPr>
          <a:xfrm>
            <a:off x="-188842" y="317058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0AB0D3-7EC8-E24E-9C45-C0787A06CD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8DEB3CD3-7102-7146-8D7D-551F48DD67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111" y="2881742"/>
            <a:ext cx="5085580" cy="6663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_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A3DEDBA8-E01D-FB42-B563-4845D06D26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3903" y="3555959"/>
            <a:ext cx="5085580" cy="930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CCDDB6E5-FE83-4B5C-8CEE-2769C8E8C3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F68D8C-2C31-4005-95F2-6316EBABD3A9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894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mp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542999-2114-4A80-A047-8870BE4B3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7939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542999-2114-4A80-A047-8870BE4B3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9EFB8BEC-66CC-4EDC-90F7-DDE2F5588E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20000" contrast="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87" y="0"/>
            <a:ext cx="12196763" cy="6172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8C33614-3928-4EF3-B4D8-9B1699BBBC99}"/>
              </a:ext>
            </a:extLst>
          </p:cNvPr>
          <p:cNvSpPr/>
          <p:nvPr userDrawn="1"/>
        </p:nvSpPr>
        <p:spPr>
          <a:xfrm>
            <a:off x="3177" y="3176"/>
            <a:ext cx="12192000" cy="6172200"/>
          </a:xfrm>
          <a:prstGeom prst="rect">
            <a:avLst/>
          </a:prstGeom>
          <a:solidFill>
            <a:schemeClr val="accent2">
              <a:alpha val="85882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BB158C-624C-4B94-BBC3-B75D880E30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431150" y="1097151"/>
            <a:ext cx="6857998" cy="46637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8DA0410-C3B4-6D4E-A6E2-29FA2C1F3700}"/>
              </a:ext>
            </a:extLst>
          </p:cNvPr>
          <p:cNvSpPr txBox="1"/>
          <p:nvPr userDrawn="1"/>
        </p:nvSpPr>
        <p:spPr>
          <a:xfrm>
            <a:off x="-188842" y="317058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0AB0D3-7EC8-E24E-9C45-C0787A06CD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8DEB3CD3-7102-7146-8D7D-551F48DD67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111" y="2881742"/>
            <a:ext cx="5085580" cy="6663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_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A3DEDBA8-E01D-FB42-B563-4845D06D26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3903" y="3555959"/>
            <a:ext cx="5085580" cy="930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38DA759B-269C-4D45-BDA3-33437E021E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E5127A-A182-41A8-9A0A-1F98BFFB62DB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223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mp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977B487-CCFC-F741-A6E4-96F7E91DBB3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380" y="0"/>
            <a:ext cx="12196763" cy="61722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icon to replace phot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DA0410-C3B4-6D4E-A6E2-29FA2C1F3700}"/>
              </a:ext>
            </a:extLst>
          </p:cNvPr>
          <p:cNvSpPr txBox="1"/>
          <p:nvPr userDrawn="1"/>
        </p:nvSpPr>
        <p:spPr>
          <a:xfrm>
            <a:off x="-188842" y="317058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0AB0D3-7EC8-E24E-9C45-C0787A06CD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8DEB3CD3-7102-7146-8D7D-551F48DD67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111" y="2881742"/>
            <a:ext cx="5085580" cy="6663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_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A3DEDBA8-E01D-FB42-B563-4845D06D26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3903" y="3555959"/>
            <a:ext cx="5085580" cy="930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8" name="Date Placeholder 1">
            <a:extLst>
              <a:ext uri="{FF2B5EF4-FFF2-40B4-BE49-F238E27FC236}">
                <a16:creationId xmlns:a16="http://schemas.microsoft.com/office/drawing/2014/main" id="{D0BE1B7B-8CE2-4B05-B6CD-014804EFD9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1E0F82-B6F1-4531-A62D-116E39E08F42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23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704206-170B-4714-9AA3-EAB5BA412B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741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704206-170B-4714-9AA3-EAB5BA412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Placeholder 4">
            <a:extLst>
              <a:ext uri="{FF2B5EF4-FFF2-40B4-BE49-F238E27FC236}">
                <a16:creationId xmlns:a16="http://schemas.microsoft.com/office/drawing/2014/main" id="{C66D20FD-23A3-4BE8-9B66-54EC63A38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722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F0B7995-7BF9-4145-94E4-E095B7873F8E}"/>
              </a:ext>
            </a:extLst>
          </p:cNvPr>
          <p:cNvSpPr/>
          <p:nvPr userDrawn="1"/>
        </p:nvSpPr>
        <p:spPr>
          <a:xfrm>
            <a:off x="-27904" y="-4999"/>
            <a:ext cx="12219904" cy="6177199"/>
          </a:xfrm>
          <a:prstGeom prst="rect">
            <a:avLst/>
          </a:prstGeom>
          <a:solidFill>
            <a:schemeClr val="accent1">
              <a:alpha val="8588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CD3D29-52C8-4769-AD65-3116409FB1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6054932" y="5001"/>
            <a:ext cx="6119790" cy="61771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8DA0410-C3B4-6D4E-A6E2-29FA2C1F3700}"/>
              </a:ext>
            </a:extLst>
          </p:cNvPr>
          <p:cNvSpPr txBox="1"/>
          <p:nvPr userDrawn="1"/>
        </p:nvSpPr>
        <p:spPr>
          <a:xfrm>
            <a:off x="-188842" y="317058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727E94B-D305-3848-88B8-B9EE6FC80EA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4327" y="5163475"/>
            <a:ext cx="2687556" cy="632366"/>
          </a:xfrm>
          <a:prstGeom prst="rect">
            <a:avLst/>
          </a:prstGeom>
        </p:spPr>
      </p:pic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3A2DEC22-B5CD-3A47-B7C0-3DB165F6B6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110" y="3429002"/>
            <a:ext cx="8786812" cy="1340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ank you_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34DE4802-7BE9-0043-9E12-0BE1DA19EB98}"/>
              </a:ext>
            </a:extLst>
          </p:cNvPr>
          <p:cNvSpPr txBox="1">
            <a:spLocks/>
          </p:cNvSpPr>
          <p:nvPr userDrawn="1"/>
        </p:nvSpPr>
        <p:spPr>
          <a:xfrm>
            <a:off x="8077201" y="65007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BCEBDE-760A-B84E-8DFF-C82E8660821A}" type="slidenum">
              <a:rPr lang="en-US" sz="1200" smtClean="0">
                <a:solidFill>
                  <a:schemeClr val="bg1"/>
                </a:solidFill>
              </a:rPr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470C8C-36C4-964F-BB63-68F3CDF84A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CE1244DC-8B3F-4387-B67E-D264B2A68F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ECE59B-6D40-49B6-BBD0-4BEBBB5EE21B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56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EB94D7-2835-4095-98A5-5FE8FBC005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379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EB94D7-2835-4095-98A5-5FE8FBC005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596DC94-2892-474B-9075-0C6659C4E0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9667F1-A90E-4511-AD95-67F912CD0E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0" y="-2"/>
            <a:ext cx="2408819" cy="2408821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78FBF66E-C10B-4E13-8B74-58F57EE48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198C754E-20D4-4586-810C-4BDF9289938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69EEE998-89AE-49F6-AF24-0F18DAF357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53ACA2-DD0F-46A3-A633-517228D275C9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864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E268A9-2DEB-4949-B26C-CE1DCCFD3B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35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5E268A9-2DEB-4949-B26C-CE1DCCFD3B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4350B7-BB52-45EC-B5E8-099443F974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872281-FCC5-41D9-8634-B687D219E7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3"/>
            <a:ext cx="2408820" cy="240882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C4D70E3-305F-4D64-B789-83A548274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4901F405-749B-4E61-B695-E80AFB8A631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CDA5A247-E901-4B09-8686-EA43EDD644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DFACAB-B448-4D51-B1B8-EF0F4F9EE989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255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C06B39-7894-44AF-8730-A06348C35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3392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C06B39-7894-44AF-8730-A06348C35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7C8044-F84C-46B8-9EAD-7A320876D77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A27AFF-040D-4554-8D51-72F19B0300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3"/>
            <a:ext cx="2408820" cy="24088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FA60B34-781C-404B-96A2-1607FE82AE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9783181" y="4449181"/>
            <a:ext cx="2408820" cy="240882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62ECFB6-304E-42A3-9F9B-025614B93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E8A3D65A-6824-4235-AF60-46C0D0208D2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8164E8E2-247E-40F8-B9D6-0B5932D7A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E4AA4-DBD7-446A-B773-1D5AA75778C8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976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54001BB-DA57-438F-96AA-14E072C6EB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312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54001BB-DA57-438F-96AA-14E072C6EB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D72FBA9-58FF-4BCB-9995-11C08C7130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6AB2CD-C9FE-471D-86FA-3AFDDE5BC4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9783182" y="-1"/>
            <a:ext cx="2408819" cy="24088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728ABD3-37C1-481D-9030-8B42405987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" y="4261639"/>
            <a:ext cx="2579428" cy="257942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2B09FF7-EB1A-4E9B-A7A8-1ADE7DEF9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C5DB861D-8466-4196-8381-510C29EBF7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EED988B1-8E7F-4AD7-A286-025DD5DB21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8303D-B5E0-4E4B-A886-2AA7D33B3B96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164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127CAC-B991-43A3-9571-552B478973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3823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127CAC-B991-43A3-9571-552B478973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F9DAC38-2F89-477E-ADD4-03288FF58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AE12E5-E71B-4EE3-B925-B8389C5A9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238E76-9167-41CE-8000-488A6CC7B9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4664417"/>
            <a:ext cx="4058652" cy="21897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63E043D-29CC-4BA7-89A1-70C3988BF5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3348" y="2"/>
            <a:ext cx="4058652" cy="218974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BB2334-1C87-4597-9400-D378F9124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8"/>
            <a:ext cx="10515600" cy="893643"/>
          </a:xfrm>
          <a:prstGeom prst="rect">
            <a:avLst/>
          </a:prstGeom>
        </p:spPr>
        <p:txBody>
          <a:bodyPr/>
          <a:lstStyle>
            <a:lvl1pPr>
              <a:def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1E29CC-39B1-48AD-91A2-EF142CF0DCD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371601"/>
            <a:ext cx="10525122" cy="4832727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400"/>
            </a:lvl1pPr>
            <a:lvl2pPr marL="685800" indent="-228600">
              <a:buFont typeface="Calibri" panose="020F0502020204030204" pitchFamily="34" charset="0"/>
              <a:buChar char="–"/>
              <a:defRPr sz="2000"/>
            </a:lvl2pPr>
            <a:lvl3pPr marL="1143000" indent="-228600">
              <a:buFont typeface="Wingdings" panose="05000000000000000000" pitchFamily="2" charset="2"/>
              <a:buChar char="§"/>
              <a:defRPr sz="1800"/>
            </a:lvl3pPr>
            <a:lvl4pPr marL="1600200" indent="-228600">
              <a:buFont typeface="Calibri" panose="020F0502020204030204" pitchFamily="34" charset="0"/>
              <a:buChar char="–"/>
              <a:defRPr sz="1600"/>
            </a:lvl4pPr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760DF274-EA50-4069-AED3-68E228BDFB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3C9C6-8C3A-4B04-920A-26E33B251189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979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BE799D-EEA0-A24A-B8C6-38313811ED09}"/>
              </a:ext>
            </a:extLst>
          </p:cNvPr>
          <p:cNvSpPr/>
          <p:nvPr userDrawn="1"/>
        </p:nvSpPr>
        <p:spPr>
          <a:xfrm>
            <a:off x="8129016" y="0"/>
            <a:ext cx="4062985" cy="30906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074ACA-B956-374D-A881-3B5AF00AB7F3}"/>
              </a:ext>
            </a:extLst>
          </p:cNvPr>
          <p:cNvSpPr/>
          <p:nvPr userDrawn="1"/>
        </p:nvSpPr>
        <p:spPr>
          <a:xfrm>
            <a:off x="1" y="3090673"/>
            <a:ext cx="4050793" cy="30910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40720B-D21E-C749-A6AA-0EE74EE02BCC}"/>
              </a:ext>
            </a:extLst>
          </p:cNvPr>
          <p:cNvSpPr/>
          <p:nvPr userDrawn="1"/>
        </p:nvSpPr>
        <p:spPr>
          <a:xfrm>
            <a:off x="1" y="1"/>
            <a:ext cx="4050793" cy="3090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769679-35B5-CA4F-A680-B51E6CF894C6}"/>
              </a:ext>
            </a:extLst>
          </p:cNvPr>
          <p:cNvSpPr/>
          <p:nvPr userDrawn="1"/>
        </p:nvSpPr>
        <p:spPr>
          <a:xfrm>
            <a:off x="4050793" y="3089905"/>
            <a:ext cx="4084320" cy="309105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7AC8F5-EAE5-064F-8270-5643B98D7D97}"/>
              </a:ext>
            </a:extLst>
          </p:cNvPr>
          <p:cNvSpPr/>
          <p:nvPr userDrawn="1"/>
        </p:nvSpPr>
        <p:spPr>
          <a:xfrm>
            <a:off x="8129016" y="3090289"/>
            <a:ext cx="4062985" cy="30906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2EC04-88CD-D94C-ADA7-DC9FE0D473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9" y="772768"/>
            <a:ext cx="1694069" cy="10262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053FAAE-CF6B-CF45-A774-89499A5986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25180" y="3522731"/>
            <a:ext cx="1485900" cy="12192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AF335D4-7723-404F-A70D-89B4D165D0B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9697" y="538853"/>
            <a:ext cx="1312610" cy="106258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99255C-7E8B-BA45-9E1F-2180FED4BB6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71833" y="3713934"/>
            <a:ext cx="991335" cy="1061430"/>
          </a:xfrm>
          <a:prstGeom prst="rect">
            <a:avLst/>
          </a:prstGeom>
        </p:spPr>
      </p:pic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D5DAFD86-68A4-B54C-92BA-66D0210CB51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973" y="2074313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0" name="Content Placeholder 26">
            <a:extLst>
              <a:ext uri="{FF2B5EF4-FFF2-40B4-BE49-F238E27FC236}">
                <a16:creationId xmlns:a16="http://schemas.microsoft.com/office/drawing/2014/main" id="{C230251B-467D-8740-8666-6C3C194809E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72973" y="2453646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FA54332-41C3-2C48-B01D-9ECFCF367B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00000">
            <a:off x="5790829" y="3627478"/>
            <a:ext cx="598153" cy="116991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C08262C-CF18-714E-ACB7-B006BD3143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1668" y="772766"/>
            <a:ext cx="1499412" cy="925562"/>
          </a:xfrm>
          <a:prstGeom prst="rect">
            <a:avLst/>
          </a:prstGeom>
        </p:spPr>
      </p:pic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0C3DAA76-408D-A542-9359-445D9374906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2" name="Content Placeholder 26">
            <a:extLst>
              <a:ext uri="{FF2B5EF4-FFF2-40B4-BE49-F238E27FC236}">
                <a16:creationId xmlns:a16="http://schemas.microsoft.com/office/drawing/2014/main" id="{35D3EE2C-4E86-6841-8843-4F7666A36E5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72973" y="5153213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3" name="Content Placeholder 26">
            <a:extLst>
              <a:ext uri="{FF2B5EF4-FFF2-40B4-BE49-F238E27FC236}">
                <a16:creationId xmlns:a16="http://schemas.microsoft.com/office/drawing/2014/main" id="{90ACC2AC-163A-D341-A746-83F32C8A8AF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72973" y="5532546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44" name="Content Placeholder 26">
            <a:extLst>
              <a:ext uri="{FF2B5EF4-FFF2-40B4-BE49-F238E27FC236}">
                <a16:creationId xmlns:a16="http://schemas.microsoft.com/office/drawing/2014/main" id="{B69C901A-7646-014B-B15E-4853345886B9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723764" y="5153213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5" name="Content Placeholder 26">
            <a:extLst>
              <a:ext uri="{FF2B5EF4-FFF2-40B4-BE49-F238E27FC236}">
                <a16:creationId xmlns:a16="http://schemas.microsoft.com/office/drawing/2014/main" id="{50D95A86-7F70-8348-97AA-A3BC09A50FC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723764" y="5532546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46" name="Content Placeholder 26">
            <a:extLst>
              <a:ext uri="{FF2B5EF4-FFF2-40B4-BE49-F238E27FC236}">
                <a16:creationId xmlns:a16="http://schemas.microsoft.com/office/drawing/2014/main" id="{A30DE6AD-59C9-E642-BFE5-300885FA128D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837201" y="5153213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7" name="Content Placeholder 26">
            <a:extLst>
              <a:ext uri="{FF2B5EF4-FFF2-40B4-BE49-F238E27FC236}">
                <a16:creationId xmlns:a16="http://schemas.microsoft.com/office/drawing/2014/main" id="{4E0A1409-77B1-EA4D-AB47-94ED63F448A5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837201" y="5532546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48" name="Content Placeholder 26">
            <a:extLst>
              <a:ext uri="{FF2B5EF4-FFF2-40B4-BE49-F238E27FC236}">
                <a16:creationId xmlns:a16="http://schemas.microsoft.com/office/drawing/2014/main" id="{0FAA7472-0F84-704D-B15A-C20D595CDB26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866317" y="2074313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9" name="Content Placeholder 26">
            <a:extLst>
              <a:ext uri="{FF2B5EF4-FFF2-40B4-BE49-F238E27FC236}">
                <a16:creationId xmlns:a16="http://schemas.microsoft.com/office/drawing/2014/main" id="{3B7E680B-583D-3F4C-9A63-753161AA1470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8866317" y="2453646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50" name="Content Placeholder 26">
            <a:extLst>
              <a:ext uri="{FF2B5EF4-FFF2-40B4-BE49-F238E27FC236}">
                <a16:creationId xmlns:a16="http://schemas.microsoft.com/office/drawing/2014/main" id="{72587D01-53BC-A04F-A2AF-30F55AFEEFAF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803332" y="2148355"/>
            <a:ext cx="2652713" cy="33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1" name="Content Placeholder 26">
            <a:extLst>
              <a:ext uri="{FF2B5EF4-FFF2-40B4-BE49-F238E27FC236}">
                <a16:creationId xmlns:a16="http://schemas.microsoft.com/office/drawing/2014/main" id="{BA44F557-38B0-6F4F-97CE-74B00AA93580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803332" y="2527688"/>
            <a:ext cx="2652713" cy="259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i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29" name="Date Placeholder 1">
            <a:extLst>
              <a:ext uri="{FF2B5EF4-FFF2-40B4-BE49-F238E27FC236}">
                <a16:creationId xmlns:a16="http://schemas.microsoft.com/office/drawing/2014/main" id="{5DBE8CE4-B86C-4875-A4F2-182F885E99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1120AB-77E5-419C-AC4C-21AE49E5CB91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087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BE799D-EEA0-A24A-B8C6-38313811ED09}"/>
              </a:ext>
            </a:extLst>
          </p:cNvPr>
          <p:cNvSpPr/>
          <p:nvPr userDrawn="1"/>
        </p:nvSpPr>
        <p:spPr>
          <a:xfrm>
            <a:off x="8129016" y="-1"/>
            <a:ext cx="4062985" cy="34376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074ACA-B956-374D-A881-3B5AF00AB7F3}"/>
              </a:ext>
            </a:extLst>
          </p:cNvPr>
          <p:cNvSpPr/>
          <p:nvPr userDrawn="1"/>
        </p:nvSpPr>
        <p:spPr>
          <a:xfrm>
            <a:off x="1" y="3429003"/>
            <a:ext cx="4050793" cy="3428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40720B-D21E-C749-A6AA-0EE74EE02BCC}"/>
              </a:ext>
            </a:extLst>
          </p:cNvPr>
          <p:cNvSpPr/>
          <p:nvPr userDrawn="1"/>
        </p:nvSpPr>
        <p:spPr>
          <a:xfrm>
            <a:off x="1" y="2"/>
            <a:ext cx="4050793" cy="3428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769679-35B5-CA4F-A680-B51E6CF894C6}"/>
              </a:ext>
            </a:extLst>
          </p:cNvPr>
          <p:cNvSpPr/>
          <p:nvPr userDrawn="1"/>
        </p:nvSpPr>
        <p:spPr>
          <a:xfrm>
            <a:off x="4050793" y="-2"/>
            <a:ext cx="4090418" cy="3437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7AC8F5-EAE5-064F-8270-5643B98D7D97}"/>
              </a:ext>
            </a:extLst>
          </p:cNvPr>
          <p:cNvSpPr/>
          <p:nvPr userDrawn="1"/>
        </p:nvSpPr>
        <p:spPr>
          <a:xfrm>
            <a:off x="8132064" y="3440369"/>
            <a:ext cx="4059936" cy="34289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D5DAFD86-68A4-B54C-92BA-66D0210CB51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99041" y="2286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0" name="Content Placeholder 26">
            <a:extLst>
              <a:ext uri="{FF2B5EF4-FFF2-40B4-BE49-F238E27FC236}">
                <a16:creationId xmlns:a16="http://schemas.microsoft.com/office/drawing/2014/main" id="{C230251B-467D-8740-8666-6C3C194809E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9041" y="2791086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1" name="Content Placeholder 26">
            <a:extLst>
              <a:ext uri="{FF2B5EF4-FFF2-40B4-BE49-F238E27FC236}">
                <a16:creationId xmlns:a16="http://schemas.microsoft.com/office/drawing/2014/main" id="{8B12A948-3426-9A4A-8828-DCB8E4EE093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782104" y="228917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2" name="Content Placeholder 26">
            <a:extLst>
              <a:ext uri="{FF2B5EF4-FFF2-40B4-BE49-F238E27FC236}">
                <a16:creationId xmlns:a16="http://schemas.microsoft.com/office/drawing/2014/main" id="{DF2D20CD-6DE8-3845-8296-76DDB5949F4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782104" y="2793816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3" name="Content Placeholder 26">
            <a:extLst>
              <a:ext uri="{FF2B5EF4-FFF2-40B4-BE49-F238E27FC236}">
                <a16:creationId xmlns:a16="http://schemas.microsoft.com/office/drawing/2014/main" id="{0E1C8EA1-B159-2145-A6A9-B003F82E388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72973" y="553723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4" name="Content Placeholder 26">
            <a:extLst>
              <a:ext uri="{FF2B5EF4-FFF2-40B4-BE49-F238E27FC236}">
                <a16:creationId xmlns:a16="http://schemas.microsoft.com/office/drawing/2014/main" id="{2A67E8B3-524E-FB4B-A422-4E20C74A9F9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72973" y="604187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5" name="Content Placeholder 26">
            <a:extLst>
              <a:ext uri="{FF2B5EF4-FFF2-40B4-BE49-F238E27FC236}">
                <a16:creationId xmlns:a16="http://schemas.microsoft.com/office/drawing/2014/main" id="{09B5E6C2-428E-6746-9353-768CDF215F1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71578" y="228917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6" name="Content Placeholder 26">
            <a:extLst>
              <a:ext uri="{FF2B5EF4-FFF2-40B4-BE49-F238E27FC236}">
                <a16:creationId xmlns:a16="http://schemas.microsoft.com/office/drawing/2014/main" id="{BEA1AA5D-EB62-C943-9A5E-6D55F7AC4DF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71578" y="2793816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7" name="Content Placeholder 26">
            <a:extLst>
              <a:ext uri="{FF2B5EF4-FFF2-40B4-BE49-F238E27FC236}">
                <a16:creationId xmlns:a16="http://schemas.microsoft.com/office/drawing/2014/main" id="{D2E47119-DF43-B44D-864B-924610A0963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71578" y="557780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rgbClr val="009FE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8" name="Content Placeholder 26">
            <a:extLst>
              <a:ext uri="{FF2B5EF4-FFF2-40B4-BE49-F238E27FC236}">
                <a16:creationId xmlns:a16="http://schemas.microsoft.com/office/drawing/2014/main" id="{30C55AAD-8DA1-6041-A511-8D881A2B458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71578" y="6082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rgbClr val="009FE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sp>
        <p:nvSpPr>
          <p:cNvPr id="39" name="Content Placeholder 26">
            <a:extLst>
              <a:ext uri="{FF2B5EF4-FFF2-40B4-BE49-F238E27FC236}">
                <a16:creationId xmlns:a16="http://schemas.microsoft.com/office/drawing/2014/main" id="{350C102B-D22D-D646-B0D5-2871CA89AD7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846273" y="5577808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0" name="Content Placeholder 26">
            <a:extLst>
              <a:ext uri="{FF2B5EF4-FFF2-40B4-BE49-F238E27FC236}">
                <a16:creationId xmlns:a16="http://schemas.microsoft.com/office/drawing/2014/main" id="{EC4BC926-CBAB-CC42-8A56-6AB2CC27705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846273" y="6082447"/>
            <a:ext cx="2652713" cy="487363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escriptive Text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A9849B4E-3E32-CF49-81B1-BF7F75DB7C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055" y="-1"/>
            <a:ext cx="2293269" cy="228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457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AAC561D-EBFD-BF40-9AF2-F9AFF366E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27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chemeClr val="accent5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81B516F2-E264-5B43-B1F0-BC6E75B76567}"/>
              </a:ext>
            </a:extLst>
          </p:cNvPr>
          <p:cNvSpPr txBox="1">
            <a:spLocks/>
          </p:cNvSpPr>
          <p:nvPr userDrawn="1"/>
        </p:nvSpPr>
        <p:spPr>
          <a:xfrm>
            <a:off x="7957932" y="634972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F249094-841B-124F-866B-EDBFD92458BB}" type="slidenum">
              <a:rPr lang="en-US" sz="1200" smtClean="0">
                <a:solidFill>
                  <a:schemeClr val="accent5"/>
                </a:solidFill>
              </a:rPr>
              <a:pPr algn="r"/>
              <a:t>‹#›</a:t>
            </a:fld>
            <a:endParaRPr lang="en-US" sz="1200">
              <a:solidFill>
                <a:schemeClr val="accent5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7D4BD1-898A-4820-892A-1BC5B4B86E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84007" y="6359866"/>
            <a:ext cx="823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9B2C82-1448-4BB4-A76A-8672B2E18609}" type="datetime1">
              <a:rPr lang="de-DE" smtClean="0"/>
              <a:t>14.01.2026</a:t>
            </a:fld>
            <a:endParaRPr lang="en-US"/>
          </a:p>
        </p:txBody>
      </p:sp>
      <p:pic>
        <p:nvPicPr>
          <p:cNvPr id="4" name="Picture 3" descr="A close up of a sign&#10;&#10;Description generated with high confidence">
            <a:extLst>
              <a:ext uri="{FF2B5EF4-FFF2-40B4-BE49-F238E27FC236}">
                <a16:creationId xmlns:a16="http://schemas.microsoft.com/office/drawing/2014/main" id="{E02EFA6A-BB08-4728-8F00-C574F5EF6053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0643848" y="6192745"/>
            <a:ext cx="1038505" cy="6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335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68" r:id="rId3"/>
    <p:sldLayoutId id="2147483666" r:id="rId4"/>
    <p:sldLayoutId id="2147483667" r:id="rId5"/>
    <p:sldLayoutId id="2147483670" r:id="rId6"/>
    <p:sldLayoutId id="2147483669" r:id="rId7"/>
    <p:sldLayoutId id="2147483660" r:id="rId8"/>
    <p:sldLayoutId id="2147483674" r:id="rId9"/>
    <p:sldLayoutId id="2147483675" r:id="rId10"/>
    <p:sldLayoutId id="2147483650" r:id="rId11"/>
    <p:sldLayoutId id="2147483653" r:id="rId12"/>
    <p:sldLayoutId id="2147483673" r:id="rId13"/>
    <p:sldLayoutId id="2147483657" r:id="rId14"/>
    <p:sldLayoutId id="2147483676" r:id="rId15"/>
    <p:sldLayoutId id="2147483662" r:id="rId16"/>
    <p:sldLayoutId id="2147483677" r:id="rId17"/>
    <p:sldLayoutId id="2147483664" r:id="rId18"/>
    <p:sldLayoutId id="2147483678" r:id="rId19"/>
    <p:sldLayoutId id="2147483665" r:id="rId20"/>
    <p:sldLayoutId id="2147483679" r:id="rId21"/>
    <p:sldLayoutId id="2147483658" r:id="rId22"/>
    <p:sldLayoutId id="2147483680" r:id="rId23"/>
    <p:sldLayoutId id="2147483681" r:id="rId24"/>
    <p:sldLayoutId id="2147483659" r:id="rId25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kautex.jobs.cz/" TargetMode="External"/><Relationship Id="rId7" Type="http://schemas.openxmlformats.org/officeDocument/2006/relationships/hyperlink" Target="mailto:hrbohemia@kautex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kautex.jobs.cz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8DA9A21-2780-4D2A-B72B-C5B2325CCF3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40329A5-112B-4329-A3CC-3AD7F24684C1}" type="datetime1">
              <a:rPr lang="de-DE" smtClean="0"/>
              <a:t>14.01.2026</a:t>
            </a:fld>
            <a:endParaRPr lang="en-US" dirty="0"/>
          </a:p>
        </p:txBody>
      </p:sp>
      <p:sp>
        <p:nvSpPr>
          <p:cNvPr id="7" name="Obdélník: se zakulacenými rohy 6">
            <a:extLst>
              <a:ext uri="{FF2B5EF4-FFF2-40B4-BE49-F238E27FC236}">
                <a16:creationId xmlns:a16="http://schemas.microsoft.com/office/drawing/2014/main" id="{DEF9421E-7DB3-4B9A-83FF-A4C262376439}"/>
              </a:ext>
            </a:extLst>
          </p:cNvPr>
          <p:cNvSpPr/>
          <p:nvPr/>
        </p:nvSpPr>
        <p:spPr>
          <a:xfrm>
            <a:off x="7051670" y="5486745"/>
            <a:ext cx="4572439" cy="459075"/>
          </a:xfrm>
          <a:prstGeom prst="roundRect">
            <a:avLst>
              <a:gd name="adj" fmla="val 50000"/>
            </a:avLst>
          </a:prstGeom>
          <a:solidFill>
            <a:srgbClr val="009FE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dirty="0"/>
              <a:t>Více informací na </a:t>
            </a:r>
            <a:r>
              <a:rPr lang="cs-CZ" sz="2400" b="1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utex.jobs.cz</a:t>
            </a:r>
            <a:endParaRPr lang="cs-CZ" sz="2400" b="1" dirty="0">
              <a:solidFill>
                <a:schemeClr val="bg1"/>
              </a:solidFill>
            </a:endParaRPr>
          </a:p>
        </p:txBody>
      </p:sp>
      <p:pic>
        <p:nvPicPr>
          <p:cNvPr id="9" name="Obrázek 8" descr="Obsah obrázku text&#10;&#10;Popis byl vytvořen automaticky">
            <a:extLst>
              <a:ext uri="{FF2B5EF4-FFF2-40B4-BE49-F238E27FC236}">
                <a16:creationId xmlns:a16="http://schemas.microsoft.com/office/drawing/2014/main" id="{91E35B70-8E5D-43B0-83EC-05B7FC641B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2182" y="428467"/>
            <a:ext cx="2972667" cy="767975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29C73F63-9072-FDF9-8918-13888C96C7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589" r="12928" b="4895"/>
          <a:stretch/>
        </p:blipFill>
        <p:spPr>
          <a:xfrm>
            <a:off x="-30191" y="0"/>
            <a:ext cx="6465759" cy="6858000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FD2D2BC1-E51A-80C9-37A0-7FFC4FDC58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00246" y="2124196"/>
            <a:ext cx="1432623" cy="1432623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CD62ABC9-6854-4B75-A7FA-E20BAAEB1ABF}"/>
              </a:ext>
            </a:extLst>
          </p:cNvPr>
          <p:cNvSpPr txBox="1"/>
          <p:nvPr/>
        </p:nvSpPr>
        <p:spPr>
          <a:xfrm>
            <a:off x="1608470" y="93082"/>
            <a:ext cx="467569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600" b="1" dirty="0">
                <a:solidFill>
                  <a:schemeClr val="bg1"/>
                </a:solidFill>
              </a:rPr>
              <a:t>Nabízíme:</a:t>
            </a:r>
          </a:p>
          <a:p>
            <a:pPr marL="300611" indent="-300611" algn="r">
              <a:buFontTx/>
              <a:buChar char="-"/>
            </a:pPr>
            <a:r>
              <a:rPr lang="cs-CZ" sz="1600" dirty="0">
                <a:solidFill>
                  <a:schemeClr val="bg1"/>
                </a:solidFill>
              </a:rPr>
              <a:t>stabilní a dlouhodobé zaměstnání</a:t>
            </a:r>
          </a:p>
          <a:p>
            <a:pPr marL="300611" indent="-300611" algn="r">
              <a:buFontTx/>
              <a:buChar char="-"/>
            </a:pPr>
            <a:r>
              <a:rPr lang="cs-CZ" sz="1600" dirty="0">
                <a:solidFill>
                  <a:schemeClr val="bg1"/>
                </a:solidFill>
              </a:rPr>
              <a:t>kompletní zaškolení na pozici od zkušených kolegů</a:t>
            </a:r>
          </a:p>
          <a:p>
            <a:pPr marL="300611" indent="-300611" algn="r">
              <a:buFontTx/>
              <a:buChar char="-"/>
            </a:pPr>
            <a:r>
              <a:rPr lang="cs-CZ" sz="1600" dirty="0">
                <a:solidFill>
                  <a:schemeClr val="bg1"/>
                </a:solidFill>
              </a:rPr>
              <a:t>13. a 14. mzda, věrnostní bonusy</a:t>
            </a:r>
          </a:p>
          <a:p>
            <a:pPr marL="300611" indent="-300611" algn="r">
              <a:buFontTx/>
              <a:buChar char="-"/>
            </a:pPr>
            <a:r>
              <a:rPr lang="cs-CZ" sz="1600" dirty="0">
                <a:solidFill>
                  <a:schemeClr val="bg1"/>
                </a:solidFill>
              </a:rPr>
              <a:t>nadstandardní příspěvek na penzijní připojištění</a:t>
            </a:r>
          </a:p>
          <a:p>
            <a:pPr marL="300611" indent="-300611" algn="r">
              <a:buFontTx/>
              <a:buChar char="-"/>
            </a:pPr>
            <a:r>
              <a:rPr lang="cs-CZ" sz="1600" dirty="0">
                <a:solidFill>
                  <a:schemeClr val="bg1"/>
                </a:solidFill>
              </a:rPr>
              <a:t>mladý a přátelský kolektiv</a:t>
            </a:r>
          </a:p>
          <a:p>
            <a:pPr algn="r"/>
            <a:r>
              <a:rPr lang="cs-CZ" sz="1600" dirty="0">
                <a:solidFill>
                  <a:schemeClr val="bg1"/>
                </a:solidFill>
              </a:rPr>
              <a:t>a další benefity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04852660-EC56-4C09-9DBB-02967D92CA5D}"/>
              </a:ext>
            </a:extLst>
          </p:cNvPr>
          <p:cNvSpPr/>
          <p:nvPr/>
        </p:nvSpPr>
        <p:spPr>
          <a:xfrm>
            <a:off x="10388338" y="6359864"/>
            <a:ext cx="1684392" cy="38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5243880D-1328-4F37-B858-BCB1ACEC025D}"/>
              </a:ext>
            </a:extLst>
          </p:cNvPr>
          <p:cNvSpPr txBox="1"/>
          <p:nvPr/>
        </p:nvSpPr>
        <p:spPr>
          <a:xfrm>
            <a:off x="-30191" y="6250040"/>
            <a:ext cx="5835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cs-CZ" sz="1600" b="1" dirty="0">
                <a:solidFill>
                  <a:schemeClr val="bg1"/>
                </a:solidFill>
              </a:rPr>
              <a:t>KONTAKT: </a:t>
            </a:r>
            <a:r>
              <a:rPr lang="cs-CZ" sz="1600" b="1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rbohemia@kautex.com</a:t>
            </a:r>
            <a:endParaRPr lang="cs-CZ" sz="1600" b="1" dirty="0">
              <a:solidFill>
                <a:schemeClr val="bg1"/>
              </a:solidFill>
            </a:endParaRPr>
          </a:p>
          <a:p>
            <a:pPr algn="l"/>
            <a:r>
              <a:rPr lang="cs-CZ" sz="1600" b="1" dirty="0">
                <a:solidFill>
                  <a:schemeClr val="bg1"/>
                </a:solidFill>
              </a:rPr>
              <a:t>Tel: 727 967 802</a:t>
            </a:r>
          </a:p>
        </p:txBody>
      </p:sp>
      <p:sp>
        <p:nvSpPr>
          <p:cNvPr id="13" name="Zástupný obsah 3">
            <a:extLst>
              <a:ext uri="{FF2B5EF4-FFF2-40B4-BE49-F238E27FC236}">
                <a16:creationId xmlns:a16="http://schemas.microsoft.com/office/drawing/2014/main" id="{170C3847-2711-D8E1-DB6D-0F3FBBF87A9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04230" y="335672"/>
            <a:ext cx="5368500" cy="4869374"/>
          </a:xfrm>
        </p:spPr>
        <p:txBody>
          <a:bodyPr/>
          <a:lstStyle/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 algn="ctr">
              <a:buNone/>
            </a:pPr>
            <a:endParaRPr lang="cs-CZ" sz="2500" b="1" dirty="0">
              <a:solidFill>
                <a:srgbClr val="000000"/>
              </a:solidFill>
            </a:endParaRPr>
          </a:p>
          <a:p>
            <a:pPr marL="0" indent="0" algn="ctr">
              <a:buNone/>
            </a:pPr>
            <a:r>
              <a:rPr lang="cs-CZ" sz="2500" b="1" dirty="0">
                <a:solidFill>
                  <a:srgbClr val="000000"/>
                </a:solidFill>
              </a:rPr>
              <a:t>nastartujte svou kariéru v našem programu pro_</a:t>
            </a:r>
          </a:p>
          <a:p>
            <a:pPr marL="0" indent="0" algn="ctr">
              <a:buNone/>
            </a:pPr>
            <a:endParaRPr lang="cs-CZ" sz="1000" b="1" dirty="0">
              <a:solidFill>
                <a:srgbClr val="000000"/>
              </a:solidFill>
            </a:endParaRPr>
          </a:p>
          <a:p>
            <a:pPr marL="0" indent="0" algn="ctr">
              <a:buNone/>
            </a:pPr>
            <a:r>
              <a:rPr lang="cs-CZ" sz="3300" b="1" dirty="0">
                <a:solidFill>
                  <a:srgbClr val="009FE3"/>
                </a:solidFill>
              </a:rPr>
              <a:t>TRAINEE</a:t>
            </a:r>
          </a:p>
          <a:p>
            <a:pPr marL="0" indent="0" algn="ctr">
              <a:buNone/>
            </a:pPr>
            <a:endParaRPr lang="cs-CZ" sz="500" b="1" dirty="0">
              <a:solidFill>
                <a:srgbClr val="000000"/>
              </a:solidFill>
            </a:endParaRPr>
          </a:p>
          <a:p>
            <a:pPr marL="0" indent="0" algn="ctr">
              <a:buNone/>
            </a:pPr>
            <a:r>
              <a:rPr lang="cs-CZ" sz="2500" b="1" dirty="0">
                <a:solidFill>
                  <a:srgbClr val="000000"/>
                </a:solidFill>
              </a:rPr>
              <a:t>pozice je určená pro absolventy </a:t>
            </a:r>
            <a:r>
              <a:rPr lang="cs-CZ" sz="3000" b="1" dirty="0">
                <a:solidFill>
                  <a:srgbClr val="000000"/>
                </a:solidFill>
              </a:rPr>
              <a:t>technických oborů VŠ_</a:t>
            </a:r>
          </a:p>
          <a:p>
            <a:pPr marL="0" indent="0" algn="ctr">
              <a:buNone/>
            </a:pPr>
            <a:endParaRPr lang="cs-CZ" sz="2200" b="1" dirty="0">
              <a:solidFill>
                <a:srgbClr val="000000"/>
              </a:solidFill>
            </a:endParaRPr>
          </a:p>
          <a:p>
            <a:pPr marL="0" indent="0" algn="ctr">
              <a:buNone/>
            </a:pPr>
            <a:r>
              <a:rPr lang="cs-CZ" sz="1600" dirty="0"/>
              <a:t>KAUTEX TEXTRON BOHEMIA, spol. s r. o.</a:t>
            </a:r>
            <a:endParaRPr lang="cs-CZ" sz="1400" dirty="0"/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545051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8B05D8A-D4FD-AB49-D2F9-A52425D1D11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bsolvovali jste v posledním roce úspěšně studium na vysoké škole? Přidejte se k našemu týmu a získejte cenné zkušenosti v našem rotačním programu. V Kautexu klademe speciální důraz na rozvoj a růst všech našich zaměstnanců a nebojíme se dát příležitost kandidátům bez zkušeností! TRAINEE program je ideálním způsobem, jak získat informace z různých oddělení společnosti a po jeho dokončení nastoupit na pozici </a:t>
            </a:r>
            <a:r>
              <a:rPr lang="cs-CZ" sz="1800" i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edoucího nebo specialisty</a:t>
            </a:r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</a:p>
          <a:p>
            <a:pPr marL="0" indent="0">
              <a:buNone/>
            </a:pPr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ení nic jednoduššího než nám zaslat svůj životopis nebo kontaktovat personalistku na uvedeném telefonním čísle nebo e-mailu a domluvit se na osobním setkání, na kterém Vám sdělíme všechny potřebné informace o nabídce zaměstnání. </a:t>
            </a:r>
            <a:endParaRPr lang="cs-CZ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ěšíme se na Vás!</a:t>
            </a:r>
            <a:endParaRPr lang="cs-CZ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cs-CZ" sz="1800" i="1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kautex.jobs.cz</a:t>
            </a:r>
            <a:endParaRPr lang="cs-CZ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cs-CZ" dirty="0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4622976-35C2-18E7-C269-E54045CE44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6C6A55A-DA91-4452-A0AE-D9286CA26766}" type="datetime1">
              <a:rPr lang="de-DE" smtClean="0"/>
              <a:t>14.01.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87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GYPdZXZakjzmE4wku4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7jXqAxhvEONC8moWx_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81mjKbkAEU2N5TyQGE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GojEN1qG3eMWUCm3f0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hLGBZ9oPEIzUnD0Q8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FFt7Dw9UkUXYj.k_l88g"/>
</p:tagLst>
</file>

<file path=ppt/theme/theme1.xml><?xml version="1.0" encoding="utf-8"?>
<a:theme xmlns:a="http://schemas.openxmlformats.org/drawingml/2006/main" name="Office Theme">
  <a:themeElements>
    <a:clrScheme name="Kautex Color Palette">
      <a:dk1>
        <a:srgbClr val="4B4B55"/>
      </a:dk1>
      <a:lt1>
        <a:srgbClr val="FFFFFF"/>
      </a:lt1>
      <a:dk2>
        <a:srgbClr val="4B4B55"/>
      </a:dk2>
      <a:lt2>
        <a:srgbClr val="E7E6E6"/>
      </a:lt2>
      <a:accent1>
        <a:srgbClr val="009FE3"/>
      </a:accent1>
      <a:accent2>
        <a:srgbClr val="E67932"/>
      </a:accent2>
      <a:accent3>
        <a:srgbClr val="C5B69C"/>
      </a:accent3>
      <a:accent4>
        <a:srgbClr val="004B69"/>
      </a:accent4>
      <a:accent5>
        <a:srgbClr val="BBBEC2"/>
      </a:accent5>
      <a:accent6>
        <a:srgbClr val="3F6881"/>
      </a:accent6>
      <a:hlink>
        <a:srgbClr val="778D9D"/>
      </a:hlink>
      <a:folHlink>
        <a:srgbClr val="98A8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25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F7B3D55681624BA6F99431A52BB0B0" ma:contentTypeVersion="5" ma:contentTypeDescription="Create a new document." ma:contentTypeScope="" ma:versionID="3f3795b561b493129c9bce36e851eb63">
  <xsd:schema xmlns:xsd="http://www.w3.org/2001/XMLSchema" xmlns:xs="http://www.w3.org/2001/XMLSchema" xmlns:p="http://schemas.microsoft.com/office/2006/metadata/properties" xmlns:ns2="04602317-5170-4577-ab5a-0ab923e4e646" targetNamespace="http://schemas.microsoft.com/office/2006/metadata/properties" ma:root="true" ma:fieldsID="f25ab1952ec75b3d0027a777518f443f" ns2:_="">
    <xsd:import namespace="04602317-5170-4577-ab5a-0ab923e4e6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602317-5170-4577-ab5a-0ab923e4e6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32D84CA-3166-4848-9F69-B0F0BB55EDE6}">
  <ds:schemaRefs>
    <ds:schemaRef ds:uri="04602317-5170-4577-ab5a-0ab923e4e646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3FCF3A3-6CA0-4BEA-B416-CFA0560DE9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E5DDAC-BA2D-4493-9C72-E748C96DAE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602317-5170-4577-ab5a-0ab923e4e6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64</TotalTime>
  <Words>202</Words>
  <Application>Microsoft Office PowerPoint</Application>
  <PresentationFormat>Širokoúhlá obrazovka</PresentationFormat>
  <Paragraphs>26</Paragraphs>
  <Slides>2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</vt:i4>
      </vt:variant>
    </vt:vector>
  </HeadingPairs>
  <TitlesOfParts>
    <vt:vector size="7" baseType="lpstr">
      <vt:lpstr>Arial</vt:lpstr>
      <vt:lpstr>Calibri</vt:lpstr>
      <vt:lpstr>Wingdings</vt:lpstr>
      <vt:lpstr>Office Theme</vt:lpstr>
      <vt:lpstr>think-cell Slide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llie Worthington</dc:creator>
  <cp:lastModifiedBy>Rakousova, Barbora</cp:lastModifiedBy>
  <cp:revision>43</cp:revision>
  <cp:lastPrinted>2023-01-04T09:35:20Z</cp:lastPrinted>
  <dcterms:created xsi:type="dcterms:W3CDTF">2019-01-14T21:27:12Z</dcterms:created>
  <dcterms:modified xsi:type="dcterms:W3CDTF">2026-01-14T14:2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F7B3D55681624BA6F99431A52BB0B0</vt:lpwstr>
  </property>
</Properties>
</file>